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4"/>
  </p:notesMasterIdLst>
  <p:sldIdLst>
    <p:sldId id="256" r:id="rId2"/>
    <p:sldId id="330" r:id="rId3"/>
    <p:sldId id="290" r:id="rId4"/>
    <p:sldId id="258" r:id="rId5"/>
    <p:sldId id="294" r:id="rId6"/>
    <p:sldId id="2145705951" r:id="rId7"/>
    <p:sldId id="2145705925" r:id="rId8"/>
    <p:sldId id="2145705952" r:id="rId9"/>
    <p:sldId id="2145705994" r:id="rId10"/>
    <p:sldId id="2145705991" r:id="rId11"/>
    <p:sldId id="2145705995" r:id="rId12"/>
    <p:sldId id="2145705992" r:id="rId13"/>
    <p:sldId id="2145705996" r:id="rId14"/>
    <p:sldId id="2145705997" r:id="rId15"/>
    <p:sldId id="2145705998" r:id="rId16"/>
    <p:sldId id="2145705999" r:id="rId17"/>
    <p:sldId id="2145706000" r:id="rId18"/>
    <p:sldId id="2145706001" r:id="rId19"/>
    <p:sldId id="2145706002" r:id="rId20"/>
    <p:sldId id="2145706003" r:id="rId21"/>
    <p:sldId id="2145706004" r:id="rId22"/>
    <p:sldId id="309" r:id="rId23"/>
    <p:sldId id="310" r:id="rId24"/>
    <p:sldId id="311" r:id="rId25"/>
    <p:sldId id="312" r:id="rId26"/>
    <p:sldId id="313" r:id="rId27"/>
    <p:sldId id="314" r:id="rId28"/>
    <p:sldId id="315" r:id="rId29"/>
    <p:sldId id="316" r:id="rId30"/>
    <p:sldId id="317" r:id="rId31"/>
    <p:sldId id="318" r:id="rId32"/>
    <p:sldId id="319" r:id="rId33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354" autoAdjust="0"/>
    <p:restoredTop sz="95373" autoAdjust="0"/>
  </p:normalViewPr>
  <p:slideViewPr>
    <p:cSldViewPr snapToGrid="0">
      <p:cViewPr varScale="1">
        <p:scale>
          <a:sx n="87" d="100"/>
          <a:sy n="87" d="100"/>
        </p:scale>
        <p:origin x="285" y="35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69" Type="http://customschemas.google.com/relationships/presentationmetadata" Target="metadata"/><Relationship Id="rId8" Type="http://schemas.openxmlformats.org/officeDocument/2006/relationships/slide" Target="slides/slide7.xml"/><Relationship Id="rId72" Type="http://schemas.openxmlformats.org/officeDocument/2006/relationships/theme" Target="theme/theme1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3E9125-65E9-8ACD-15D9-1D737C1EF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D35D25-6F4D-5AC5-6B1A-1E2E8932F5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9B999F-A411-3E50-AC57-D85CEBA057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B9D2C9-5194-716A-1B8D-1817C3DC0DD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282921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41DBC2-38D6-3309-397D-5CD427CD0B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29181C-9A48-E546-73A8-7E1BDC2C13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155D0C-7EB1-055F-FECA-DC71E4801C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1AE42A-1086-46E6-DD54-5F8A6FEE20C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63107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627FD-0C14-3A46-82B9-BB3F239832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098489-18BA-013A-7DAB-02B699C43A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2D00C3-F231-FDE3-DF50-6EAAB71FBE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94205-DEED-42FA-CE5F-56B7A1608B8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024464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1D7965-2569-576B-23B3-EC55FA7EE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34E7AF-48CA-3FFE-630B-8E5827F102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EECF5B-D42C-D7C7-FB4E-4BDF2F1038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134E76-A96C-7D65-B4CC-312A8C5963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08539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4D4F7-C506-28C5-B33D-6AFEF5EB7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23F0BF-FA19-38D6-D6BC-49C34A850F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A8EC37-079D-25A7-DD9F-F43D3C3427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03DBB7-E3BF-6BDF-4B0B-EE2EE9FB1CC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569368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F3AA73-DE87-97FB-E94D-E872BF3EF4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46DFFE-A1AC-3410-16A2-BE25B1BA57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20DF6E-BB33-CBFE-3E5E-2709D6D61E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65BF6F-0739-C576-E424-F70BECBD0AD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45641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F3A3B6-03CC-4EAF-710E-6749CA1B1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EFDD56-F3DD-46EE-B5D2-D970E02F91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E2197E-A97F-8E5B-6F46-B37A3CCBF1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0518F2-CA4D-A93C-39E5-93A3B8861AB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21118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72094-DAA5-847A-1ACA-0D6F0728F5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6660CA-75C2-D929-8964-96FF32EA1A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EB9FB6-DFB6-EA8F-840F-C5407B6CB7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32B90D-984A-3DDB-F2A2-5515B72DB38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526368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BC57D-B09E-FCB6-77F9-F61ED9308A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61BDF0-95C2-C274-F788-66BB33D4E9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AC8F6A-0E42-07D4-5592-D17B071490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E84B15-CBDD-37E1-6EA5-3078B5474F0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03533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4C679F-BEEB-7AC7-6166-933F6D0033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8770D1-29C9-9553-CBA6-9F5403F9DF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7122DB-FF14-AE99-8509-B97DEE729E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617B58-88BF-75EE-D6E9-8BD6C79F01C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048594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5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6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8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9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FB8A12-9ED7-8883-E884-F9A40E1B15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E10717-926E-BD7D-2341-A400606FBD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22FA6E-008B-42E7-F3E1-FF97E4D8C1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BFA15-BD53-1CC8-881A-15977C36FD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89423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9451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D2B5F1-FA53-9FF2-40E0-F07D956D9B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5A3851-8955-A00F-BE29-9FBF7F6F7C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9FBEA8-DBA0-8022-F1FD-27A36BFB24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2A2AEF-14A3-84B3-F1E4-B48A1DB18F9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33781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8431198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1940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9059708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91052809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30011412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30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4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6" r:id="rId23"/>
    <p:sldLayoutId id="2147483677" r:id="rId24"/>
    <p:sldLayoutId id="2147483678" r:id="rId25"/>
    <p:sldLayoutId id="2147483679" r:id="rId26"/>
    <p:sldLayoutId id="2147483680" r:id="rId27"/>
    <p:sldLayoutId id="2147483681" r:id="rId2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2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6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6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36.jp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36.jp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.xml"/><Relationship Id="rId6" Type="http://schemas.openxmlformats.org/officeDocument/2006/relationships/image" Target="../media/image20.jp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.xml"/><Relationship Id="rId6" Type="http://schemas.openxmlformats.org/officeDocument/2006/relationships/image" Target="../media/image20.jp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01D82-3A9F-D26D-CEF5-3E39F32EF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15B809-A0A3-F4A4-F22A-CA9A4DA20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PURCHASE ORDER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C9051F-C294-1AFE-34AF-EF13EB2C22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79653"/>
            <a:ext cx="12192000" cy="6096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DE87EBF-9F4F-810D-46BC-86D19C4DE1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" y="1179652"/>
            <a:ext cx="12778451" cy="6131427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E367C19-F073-452B-4B9E-D653512F35C6}"/>
              </a:ext>
            </a:extLst>
          </p:cNvPr>
          <p:cNvGrpSpPr/>
          <p:nvPr/>
        </p:nvGrpSpPr>
        <p:grpSpPr>
          <a:xfrm>
            <a:off x="4608576" y="4345967"/>
            <a:ext cx="3073447" cy="2323057"/>
            <a:chOff x="3842864" y="1202196"/>
            <a:chExt cx="3073447" cy="2323057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CBA8F2-CD8C-FBFE-6EB0-4106190E6A6D}"/>
                </a:ext>
              </a:extLst>
            </p:cNvPr>
            <p:cNvSpPr/>
            <p:nvPr/>
          </p:nvSpPr>
          <p:spPr>
            <a:xfrm>
              <a:off x="3842864" y="1737725"/>
              <a:ext cx="2121408" cy="178752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8A4FE6DD-7DF9-7A72-7DAA-1489830442FC}"/>
                </a:ext>
              </a:extLst>
            </p:cNvPr>
            <p:cNvCxnSpPr>
              <a:cxnSpLocks/>
              <a:endCxn id="11" idx="0"/>
            </p:cNvCxnSpPr>
            <p:nvPr/>
          </p:nvCxnSpPr>
          <p:spPr>
            <a:xfrm flipH="1">
              <a:off x="4903568" y="1345933"/>
              <a:ext cx="1060704" cy="39179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B6D89ADA-CE12-A607-33AE-B2924E107346}"/>
                </a:ext>
              </a:extLst>
            </p:cNvPr>
            <p:cNvSpPr/>
            <p:nvPr/>
          </p:nvSpPr>
          <p:spPr>
            <a:xfrm>
              <a:off x="5964272" y="1202196"/>
              <a:ext cx="95203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urchase</a:t>
              </a:r>
              <a:endParaRPr lang="en-US"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8DB43E6-3152-40DF-A722-9A0CE85720ED}"/>
              </a:ext>
            </a:extLst>
          </p:cNvPr>
          <p:cNvGrpSpPr/>
          <p:nvPr/>
        </p:nvGrpSpPr>
        <p:grpSpPr>
          <a:xfrm>
            <a:off x="5549912" y="5000008"/>
            <a:ext cx="1741434" cy="803706"/>
            <a:chOff x="1322566" y="3637497"/>
            <a:chExt cx="1741434" cy="80370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360E3822-EFDF-2F84-467F-E0210543E915}"/>
                </a:ext>
              </a:extLst>
            </p:cNvPr>
            <p:cNvGrpSpPr/>
            <p:nvPr/>
          </p:nvGrpSpPr>
          <p:grpSpPr>
            <a:xfrm>
              <a:off x="1958768" y="3637497"/>
              <a:ext cx="1105232" cy="287471"/>
              <a:chOff x="6568435" y="3966362"/>
              <a:chExt cx="1105232" cy="287471"/>
            </a:xfrm>
          </p:grpSpPr>
          <p:sp>
            <p:nvSpPr>
              <p:cNvPr id="22" name="Google Shape;229;g370fc456c4b_0_4">
                <a:extLst>
                  <a:ext uri="{FF2B5EF4-FFF2-40B4-BE49-F238E27FC236}">
                    <a16:creationId xmlns:a16="http://schemas.microsoft.com/office/drawing/2014/main" id="{D19391A2-1E57-327C-EB9A-0132DCD40D99}"/>
                  </a:ext>
                </a:extLst>
              </p:cNvPr>
              <p:cNvSpPr/>
              <p:nvPr/>
            </p:nvSpPr>
            <p:spPr>
              <a:xfrm>
                <a:off x="6568435" y="3966362"/>
                <a:ext cx="326003" cy="287471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23" name="Google Shape;230;g370fc456c4b_0_4">
                <a:extLst>
                  <a:ext uri="{FF2B5EF4-FFF2-40B4-BE49-F238E27FC236}">
                    <a16:creationId xmlns:a16="http://schemas.microsoft.com/office/drawing/2014/main" id="{906D4FFD-4123-1CB8-0AFF-DCE01D537062}"/>
                  </a:ext>
                </a:extLst>
              </p:cNvPr>
              <p:cNvCxnSpPr>
                <a:cxnSpLocks/>
                <a:endCxn id="22" idx="3"/>
              </p:cNvCxnSpPr>
              <p:nvPr/>
            </p:nvCxnSpPr>
            <p:spPr>
              <a:xfrm flipH="1">
                <a:off x="6894438" y="4095907"/>
                <a:ext cx="779229" cy="14191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87F42743-E51D-9EDF-A423-511B5462A349}"/>
                </a:ext>
              </a:extLst>
            </p:cNvPr>
            <p:cNvSpPr/>
            <p:nvPr/>
          </p:nvSpPr>
          <p:spPr>
            <a:xfrm>
              <a:off x="1322566" y="4153731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4FDCB53-5F1D-BB34-3604-94A2456687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1346" y="4819365"/>
            <a:ext cx="1654508" cy="142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19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26773-FBDF-6072-275E-44E0B5C94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995F71-CF28-7DE5-51D3-6EFB867AB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ANAGE PURCHASE ORDER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CC3179-DE23-3FC9-A30F-CF4F5E7B6E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79653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0339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37D73-CA00-D753-EA99-C55200B1F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792112-7BEC-2830-61FC-78F732748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PURCHASE ORDER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F48814-DA2B-24DE-67BC-E00BA4BDB2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79653"/>
            <a:ext cx="12192000" cy="6096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CE3CFB-01D3-B37D-A0C3-841F7CA8B9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447222" y="1179653"/>
            <a:ext cx="12639222" cy="6096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58F4CE-16B9-1142-6A42-D6CFAEA69B2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628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235587-29F5-6866-4F5D-13D0FFB61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6F495E-F478-D0B8-07E3-2B3D78281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PURCHASE ORDER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09E284-0364-71CD-1252-94A6B5093B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79653"/>
            <a:ext cx="12192000" cy="6096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12BDEE4-CDE3-9C69-79E9-49FD71F8E0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447222" y="1179653"/>
            <a:ext cx="12639222" cy="6096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B8C1E8F-F30A-E716-5181-15E38398658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95809F8-BFCC-0A00-20AC-737B2CA288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2904647"/>
            <a:ext cx="3161803" cy="264601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E29416-D7E0-E6B2-99BA-D0D353E47D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57803" y="2904647"/>
            <a:ext cx="3027439" cy="27743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6EAFA60-B244-D631-16A9-A8C924B6B2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25978" y="2737449"/>
            <a:ext cx="3416437" cy="2646455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1D6972D-767A-B870-3F71-41DA91E60CAF}"/>
              </a:ext>
            </a:extLst>
          </p:cNvPr>
          <p:cNvGrpSpPr/>
          <p:nvPr/>
        </p:nvGrpSpPr>
        <p:grpSpPr>
          <a:xfrm>
            <a:off x="2492697" y="5381226"/>
            <a:ext cx="1218066" cy="896699"/>
            <a:chOff x="3842864" y="1737725"/>
            <a:chExt cx="1218066" cy="89669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37D22C4F-BEFF-5B34-A059-159C16AD0F05}"/>
                </a:ext>
              </a:extLst>
            </p:cNvPr>
            <p:cNvSpPr/>
            <p:nvPr/>
          </p:nvSpPr>
          <p:spPr>
            <a:xfrm>
              <a:off x="3842864" y="1737725"/>
              <a:ext cx="1218066" cy="2971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788DE93-FFC8-BAD7-E855-E8E22A9046AD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4451897" y="2034846"/>
              <a:ext cx="0" cy="30697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0C9717EA-D3D3-85AC-48E1-C3DA38357D12}"/>
                </a:ext>
              </a:extLst>
            </p:cNvPr>
            <p:cNvSpPr/>
            <p:nvPr/>
          </p:nvSpPr>
          <p:spPr>
            <a:xfrm>
              <a:off x="3975877" y="2346952"/>
              <a:ext cx="95203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urchase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E3B8FFA-9899-48E2-9B28-298C07333D17}"/>
              </a:ext>
            </a:extLst>
          </p:cNvPr>
          <p:cNvGrpSpPr/>
          <p:nvPr/>
        </p:nvGrpSpPr>
        <p:grpSpPr>
          <a:xfrm>
            <a:off x="4772857" y="5006956"/>
            <a:ext cx="952039" cy="944861"/>
            <a:chOff x="3705375" y="1737725"/>
            <a:chExt cx="952039" cy="944861"/>
          </a:xfrm>
        </p:grpSpPr>
        <p:sp>
          <p:nvSpPr>
            <p:cNvPr id="22" name="Google Shape;229;g370fc456c4b_0_4">
              <a:extLst>
                <a:ext uri="{FF2B5EF4-FFF2-40B4-BE49-F238E27FC236}">
                  <a16:creationId xmlns:a16="http://schemas.microsoft.com/office/drawing/2014/main" id="{77A8DFAA-46D5-CC65-F38A-FC6AA143F037}"/>
                </a:ext>
              </a:extLst>
            </p:cNvPr>
            <p:cNvSpPr/>
            <p:nvPr/>
          </p:nvSpPr>
          <p:spPr>
            <a:xfrm>
              <a:off x="3842864" y="1737725"/>
              <a:ext cx="677063" cy="2295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3" name="Google Shape;230;g370fc456c4b_0_4">
              <a:extLst>
                <a:ext uri="{FF2B5EF4-FFF2-40B4-BE49-F238E27FC236}">
                  <a16:creationId xmlns:a16="http://schemas.microsoft.com/office/drawing/2014/main" id="{60A23071-1692-08F7-0D77-C7F844515928}"/>
                </a:ext>
              </a:extLst>
            </p:cNvPr>
            <p:cNvCxnSpPr>
              <a:cxnSpLocks/>
              <a:stCxn id="24" idx="0"/>
            </p:cNvCxnSpPr>
            <p:nvPr/>
          </p:nvCxnSpPr>
          <p:spPr>
            <a:xfrm flipH="1" flipV="1">
              <a:off x="4181394" y="1967304"/>
              <a:ext cx="1" cy="42781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150FBB54-C3F2-AAFD-55EB-722A5DCB6976}"/>
                </a:ext>
              </a:extLst>
            </p:cNvPr>
            <p:cNvSpPr/>
            <p:nvPr/>
          </p:nvSpPr>
          <p:spPr>
            <a:xfrm>
              <a:off x="3705375" y="2395114"/>
              <a:ext cx="95203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urchase</a:t>
              </a:r>
              <a:endParaRPr lang="en-US" dirty="0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32DB68E-9763-11DC-9901-FE086178A806}"/>
              </a:ext>
            </a:extLst>
          </p:cNvPr>
          <p:cNvGrpSpPr/>
          <p:nvPr/>
        </p:nvGrpSpPr>
        <p:grpSpPr>
          <a:xfrm>
            <a:off x="6239972" y="2481267"/>
            <a:ext cx="3073447" cy="765108"/>
            <a:chOff x="3842864" y="1202196"/>
            <a:chExt cx="3073447" cy="765108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0BFDB350-6F4A-64B5-18DB-237F56069C9B}"/>
                </a:ext>
              </a:extLst>
            </p:cNvPr>
            <p:cNvSpPr/>
            <p:nvPr/>
          </p:nvSpPr>
          <p:spPr>
            <a:xfrm>
              <a:off x="3842864" y="1737725"/>
              <a:ext cx="677063" cy="2295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AC0E51DF-506E-7DE0-AD13-CE568C51D53F}"/>
                </a:ext>
              </a:extLst>
            </p:cNvPr>
            <p:cNvCxnSpPr>
              <a:cxnSpLocks/>
              <a:endCxn id="29" idx="0"/>
            </p:cNvCxnSpPr>
            <p:nvPr/>
          </p:nvCxnSpPr>
          <p:spPr>
            <a:xfrm flipH="1">
              <a:off x="4181396" y="1345933"/>
              <a:ext cx="1782876" cy="39179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8EE2EA43-B3C1-0B36-0593-BA8A53117135}"/>
                </a:ext>
              </a:extLst>
            </p:cNvPr>
            <p:cNvSpPr/>
            <p:nvPr/>
          </p:nvSpPr>
          <p:spPr>
            <a:xfrm>
              <a:off x="5964272" y="1202196"/>
              <a:ext cx="95203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urcha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6517210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ACB892-CA80-B97B-38F5-A900A5FDC2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6D4B919-6913-E736-2425-CD219CBC7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PURCHASE QUOT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5450FA-A1FD-6B9A-75C6-742E944558F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9CDA786-A959-A269-2A23-D66680C582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79653"/>
            <a:ext cx="12192000" cy="576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982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B79B4D-295A-F6C9-8E24-FFA34CF9C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2EE2E8-5666-DA42-DFAE-44092EB0A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ANAGE VENDOR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B34E3B-6B1A-1F72-2EE0-0A061E04664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E25CFE2-7473-A9E5-155F-730FD8E03F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79653"/>
            <a:ext cx="12192000" cy="57699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2FEFF77-DF28-E156-27EE-19877380E1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179653"/>
            <a:ext cx="12192000" cy="578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2518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B5833-3A32-616E-0D83-4DC6D5B186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1E47E5-504A-00A9-693F-A1704DB6F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ANAGE VENDOR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BA147CE-1307-E65C-0EAB-4FF60FACBCB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FFC62AD-CE4E-8B41-5CF7-CF1E44BB00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79653"/>
            <a:ext cx="12192000" cy="57699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A75B6D-C34F-10D3-1B74-7C6468C3B5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179653"/>
            <a:ext cx="12192000" cy="578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2230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169122-1B4F-94C9-8DE9-4154308265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8A9D6B-329B-86DA-1600-47D2EE35C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ANAGE VENDOR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BB30EA9-1B66-5699-08D0-B3CAEFCC2BA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4856391-229D-5CEC-55F5-08D79554BA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79653"/>
            <a:ext cx="12192000" cy="57699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578A342-AE3B-586A-FADF-7C738510F3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179653"/>
            <a:ext cx="12192000" cy="57831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0849E0E-4BBE-77A8-3DB9-D2ABF369A3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179653"/>
            <a:ext cx="12192000" cy="587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3018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0F135F-CD11-CBC8-54D5-A189047C1A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5D1C2A-45F6-D102-43A8-1A14A58C7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INFOR VENDOR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2982F32-C0F8-03C1-216B-0798DA6264C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49EC011-106A-E818-DF37-6202B889DC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79653"/>
            <a:ext cx="12192000" cy="57699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38FD135-8998-27EF-104C-5D2841B72D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179653"/>
            <a:ext cx="12192000" cy="57831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0EE474D-7D06-ADB5-F479-54D73FCDD9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179653"/>
            <a:ext cx="12192000" cy="587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019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5BFB6A-304B-DE24-6ED7-94A12DA08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4A2BC7-FF5D-C9BC-8B43-5EED5859B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INFOR VENDOR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2259BE-0781-1EBB-669C-5F85399C240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4AA41A-D65C-64F9-7E98-D4755AE878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79653"/>
            <a:ext cx="12192000" cy="57699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5BA21C8-927A-68B7-0AAF-2C3C6EEBAE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179653"/>
            <a:ext cx="12192000" cy="57831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17369D-C8A0-EAA6-76C4-C825F9BBF9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179653"/>
            <a:ext cx="12192000" cy="58751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2197263-FA08-E79C-D45B-A553812423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66480"/>
            <a:ext cx="12192000" cy="5850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3880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38F0F7-72F4-937E-60D6-428D7C143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DA329B-DA01-A5C2-B2D2-21A6BDD5D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ORDER HISTORY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7FE20E-6199-B957-C9F4-52095F6F15E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EDEA997-03A6-CA93-8FC9-FFD7E68E42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79653"/>
            <a:ext cx="12192000" cy="57699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DD98E05-FDC5-9FA2-FD6B-EF43C18869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179653"/>
            <a:ext cx="12192000" cy="57831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10FACC3-EDCD-2ECB-0326-1E3ADEABAD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179653"/>
            <a:ext cx="12192000" cy="58751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6C00D37-F4F7-D8E3-BA14-0EE8E089E0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66480"/>
            <a:ext cx="12192000" cy="58508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02EE28F-0193-CCA7-D6B8-1A9BEB30AB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186550"/>
            <a:ext cx="12192000" cy="580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1398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901E2-5E2C-0613-DED3-B56A8CEADA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7002E6-BF0F-CC69-300A-2B489B0BE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PAYMENT HISTORY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5E81DE-0095-DE2A-B7C9-1310910EF5F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92" b="18562"/>
          <a:stretch>
            <a:fillRect/>
          </a:stretch>
        </p:blipFill>
        <p:spPr>
          <a:xfrm>
            <a:off x="2376304" y="5592725"/>
            <a:ext cx="9815696" cy="12652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92E25DF-6D64-3E61-FAA0-508DBA4D9B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79653"/>
            <a:ext cx="12192000" cy="57699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7FD4337-AF7B-CBEB-02E5-9ED53723E7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179653"/>
            <a:ext cx="12192000" cy="57831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8DC6BE-5963-D452-C5D6-62E6397425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179653"/>
            <a:ext cx="12192000" cy="58751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C8F281C-A1CE-E950-47A3-5ED143955A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66480"/>
            <a:ext cx="12192000" cy="58508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CFBD89-D82F-E498-8491-8605DD21D67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186550"/>
            <a:ext cx="12192000" cy="58034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0B434D-09CE-CE07-D03F-5459F62C61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1186550"/>
            <a:ext cx="12192000" cy="592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5244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05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>
                <a:solidFill>
                  <a:srgbClr val="C00000"/>
                </a:solidFill>
              </a:rPr>
              <a:t>Presentation on </a:t>
            </a:r>
            <a:r>
              <a:rPr lang="en-US" dirty="0">
                <a:solidFill>
                  <a:srgbClr val="C00000"/>
                </a:solidFill>
              </a:rPr>
              <a:t>Use Case </a:t>
            </a:r>
            <a:r>
              <a:rPr lang="en-US" dirty="0" err="1">
                <a:solidFill>
                  <a:srgbClr val="C00000"/>
                </a:solidFill>
              </a:rPr>
              <a:t>InFlow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Module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UI Screens in the Inflowinventory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Usecase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EB2730B-5A87-7C3E-86D6-B98C7F52686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4888D1-90FE-5A9C-16D1-E5B5E8823B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9323" y="1042835"/>
            <a:ext cx="8805820" cy="581516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What is </a:t>
            </a:r>
            <a:r>
              <a:rPr lang="en-GB" dirty="0" err="1">
                <a:solidFill>
                  <a:srgbClr val="C00000"/>
                </a:solidFill>
              </a:rPr>
              <a:t>Inflowinventory</a:t>
            </a:r>
            <a:r>
              <a:rPr lang="en-GB" dirty="0">
                <a:solidFill>
                  <a:srgbClr val="C00000"/>
                </a:solidFill>
              </a:rPr>
              <a:t>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Inflow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workspac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is InflowInventory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A7FACF-83F0-718D-56CE-393C18FCAB6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8915" r="14177" b="3101"/>
          <a:stretch>
            <a:fillRect/>
          </a:stretch>
        </p:blipFill>
        <p:spPr>
          <a:xfrm>
            <a:off x="4580898" y="1098000"/>
            <a:ext cx="7954483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u"/>
      </p:transition>
    </mc:Choice>
    <mc:Fallback xmlns="">
      <p:transition>
        <p:push dir="u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C00000"/>
                </a:solidFill>
              </a:rPr>
              <a:t>Key Functionalities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5161" y="1271551"/>
            <a:ext cx="7004039" cy="4314897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23B3847-D2DC-32A6-5F97-217BB02A55AC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518160" y="1271551"/>
            <a:ext cx="4547616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and manage Workspaces for different project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Boards to organize task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Cards with due dates, custom field, label, checklists, and attachment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</a:t>
            </a:r>
            <a:r>
              <a:rPr lang="en-US" altLang="en-US" b="0" dirty="0">
                <a:latin typeface="Arial" panose="020B0604020202020204" pitchFamily="34" charset="0"/>
              </a:rPr>
              <a:t>ssign Member to Workspace, Board, Card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ment and Activity on Card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se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amplate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r setup project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laborate and manage Members &amp; Permission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F1FFE-152A-893C-9933-2331916BF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E0340-20C7-1584-4092-C5822FC11C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3EDA12E-05CB-8BDB-4253-6F4509380B1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E9F2193-D53C-4C05-1613-94BB06962E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C00000"/>
                </a:solidFill>
              </a:rPr>
              <a:t>Purchase module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43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25</TotalTime>
  <Words>787</Words>
  <Application>Microsoft Office PowerPoint</Application>
  <PresentationFormat>Widescreen</PresentationFormat>
  <Paragraphs>168</Paragraphs>
  <Slides>32</Slides>
  <Notes>30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7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Presentation on Use Case InFlow</vt:lpstr>
      <vt:lpstr>Agenda</vt:lpstr>
      <vt:lpstr>INTRODUCTION</vt:lpstr>
      <vt:lpstr>Introduction</vt:lpstr>
      <vt:lpstr>Key Functionalities</vt:lpstr>
      <vt:lpstr>Key Functionalities </vt:lpstr>
      <vt:lpstr>Purchase module</vt:lpstr>
      <vt:lpstr>PURCHASE ORDER</vt:lpstr>
      <vt:lpstr>MANAGE PURCHASE ORDER</vt:lpstr>
      <vt:lpstr>PURCHASE ORDER</vt:lpstr>
      <vt:lpstr>PURCHASE ORDER</vt:lpstr>
      <vt:lpstr>PURCHASE QUOTE</vt:lpstr>
      <vt:lpstr>MANAGE VENDOR</vt:lpstr>
      <vt:lpstr>MANAGE VENDOR</vt:lpstr>
      <vt:lpstr>MANAGE VENDOR</vt:lpstr>
      <vt:lpstr>INFOR VENDOR</vt:lpstr>
      <vt:lpstr>INFOR VENDOR</vt:lpstr>
      <vt:lpstr>ORDER HISTORY</vt:lpstr>
      <vt:lpstr>PAYMENT HISTORY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09</cp:revision>
  <dcterms:created xsi:type="dcterms:W3CDTF">2025-07-10T03:51:23Z</dcterms:created>
  <dcterms:modified xsi:type="dcterms:W3CDTF">2025-08-29T09:12:15Z</dcterms:modified>
</cp:coreProperties>
</file>